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4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29CB8-3FEB-ABAC-8AFD-CAE65EBA0C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3FB1CA4-ADCD-D868-D41F-6861288ACC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B1CA4-ADCD-D868-D41F-6861288A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F09C99-F327-3727-6CB8-58A17AD9E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2213D-0F8F-AAC8-BC9D-F6B03A96F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A2F3B3-8F82-EB7B-FB1E-72BC8BE0A671}"/>
              </a:ext>
            </a:extLst>
          </p:cNvPr>
          <p:cNvSpPr txBox="1">
            <a:spLocks/>
          </p:cNvSpPr>
          <p:nvPr/>
        </p:nvSpPr>
        <p:spPr>
          <a:xfrm>
            <a:off x="419099" y="1128813"/>
            <a:ext cx="5237779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BDF36E-B836-73EE-112E-37101A388CED}"/>
              </a:ext>
            </a:extLst>
          </p:cNvPr>
          <p:cNvSpPr txBox="1">
            <a:spLocks/>
          </p:cNvSpPr>
          <p:nvPr/>
        </p:nvSpPr>
        <p:spPr>
          <a:xfrm>
            <a:off x="419099" y="1708926"/>
            <a:ext cx="5237779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6FB6924-5022-D0FB-11C3-E7E39FA785C2}"/>
              </a:ext>
            </a:extLst>
          </p:cNvPr>
          <p:cNvSpPr txBox="1">
            <a:spLocks/>
          </p:cNvSpPr>
          <p:nvPr/>
        </p:nvSpPr>
        <p:spPr>
          <a:xfrm>
            <a:off x="6524683" y="1128813"/>
            <a:ext cx="5237779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ABC8D6B-7465-E9C9-C2E9-A015C6E7E800}"/>
              </a:ext>
            </a:extLst>
          </p:cNvPr>
          <p:cNvSpPr txBox="1">
            <a:spLocks/>
          </p:cNvSpPr>
          <p:nvPr/>
        </p:nvSpPr>
        <p:spPr>
          <a:xfrm>
            <a:off x="6524683" y="1708926"/>
            <a:ext cx="5237779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068694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4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91</cp:revision>
  <dcterms:created xsi:type="dcterms:W3CDTF">2021-03-31T02:49:57Z</dcterms:created>
  <dcterms:modified xsi:type="dcterms:W3CDTF">2025-10-15T08:49:44Z</dcterms:modified>
  <cp:category/>
</cp:coreProperties>
</file>